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832" r:id="rId5"/>
    <p:sldId id="833" r:id="rId6"/>
  </p:sldIdLst>
  <p:sldSz cx="10287000" cy="10287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culino" id="{AB6416A1-1A39-6943-90E8-D99E149BDCD6}">
          <p14:sldIdLst>
            <p14:sldId id="832"/>
          </p14:sldIdLst>
        </p14:section>
        <p14:section name="Femenino" id="{D52ECA20-6EB3-4AE5-A40D-07C0C3237C40}">
          <p14:sldIdLst>
            <p14:sldId id="833"/>
          </p14:sldIdLst>
        </p14:section>
      </p14:sectionLst>
    </p:ex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3" orient="horz" pos="3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992" autoAdjust="0"/>
  </p:normalViewPr>
  <p:slideViewPr>
    <p:cSldViewPr snapToGrid="0" snapToObjects="1">
      <p:cViewPr varScale="1">
        <p:scale>
          <a:sx n="91" d="100"/>
          <a:sy n="91" d="100"/>
        </p:scale>
        <p:origin x="5928" y="90"/>
      </p:cViewPr>
      <p:guideLst>
        <p:guide pos="3240"/>
        <p:guide orient="horz" pos="3240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-1908"/>
    </p:cViewPr>
  </p:notesTextViewPr>
  <p:notesViewPr>
    <p:cSldViewPr snapToGrid="0" snapToObjects="1">
      <p:cViewPr varScale="1">
        <p:scale>
          <a:sx n="85" d="100"/>
          <a:sy n="85" d="100"/>
        </p:scale>
        <p:origin x="303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29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2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Reemplaza el texto y las imágenes de ejemplo con tu propio contenid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Asegúrate de que todo se vea bien y quede dentro del diseñ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lige dónde quieres guardar tu archivo</a:t>
            </a:r>
          </a:p>
          <a:p>
            <a:pPr marL="228600" lvl="0" indent="-228600">
              <a:buFont typeface="+mj-lt"/>
              <a:buAutoNum type="arabicPeriod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n el menú desplegable "Guardar como tipo", selecciona: Formato de intercambio de archivos JPEG (*.jpg)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o "¿Solo esta?“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lige Solo esta</a:t>
            </a:r>
          </a:p>
          <a:p>
            <a:pPr marL="228600" lvl="0" indent="-228600">
              <a:buFont typeface="+mj-lt"/>
              <a:buAutoNum type="arabicPeriod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MX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u archivo JPG se guardará en la carpeta que elegiste, listo para compartir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DE46E7-94A2-F8BC-ADB4-CE513E6A5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A32CF8-C83F-B899-F79B-1930F1BA5F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ADB809-2581-6ABC-D920-A49D18E1E9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Reemplaza el texto y las imágenes de ejemplo con tu propio contenid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Asegúrate de que todo se vea bien y quede dentro del diseñ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lige dónde quieres guardar tu archivo</a:t>
            </a:r>
          </a:p>
          <a:p>
            <a:pPr marL="228600" lvl="0" indent="-228600">
              <a:buFont typeface="+mj-lt"/>
              <a:buAutoNum type="arabicPeriod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n el menú desplegable "Guardar como tipo", selecciona: Formato de intercambio de archivos JPEG (*.jpg)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o "¿Solo esta?“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lige Solo esta</a:t>
            </a:r>
          </a:p>
          <a:p>
            <a:pPr marL="228600" lvl="0" indent="-228600">
              <a:buFont typeface="+mj-lt"/>
              <a:buAutoNum type="arabicPeriod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Tu archivo JPG se guardará en la carpeta que elegiste, listo para compartir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571726-CB8A-4E38-BD70-F29FD2A553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2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C0E139D-BB68-76A3-401B-B2F46B22F7C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2036970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jp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g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jp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g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cul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53134" y="953189"/>
            <a:ext cx="4951202" cy="49574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447" r="447"/>
          <a:stretch/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/>
          </p:cNvSpPr>
          <p:nvPr userDrawn="1"/>
        </p:nvSpPr>
        <p:spPr>
          <a:xfrm rot="5400000">
            <a:off x="-2557258" y="5084715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0" dist="38100" algn="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1972872" y="-2410817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00099" y="8147739"/>
            <a:ext cx="5304965" cy="614247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NOMBRE (EN MAYÚSCULA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ct val="900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ste es un texto de ejemplo. Por favor comparte aquí lo que piensas. Trata de escribir alrededor de 250 a 300 caracteres.</a:t>
            </a:r>
            <a:br>
              <a:rPr lang="en-US" dirty="0"/>
            </a:br>
            <a:r>
              <a:rPr lang="en-US" dirty="0"/>
              <a:t>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EE5BC827-CA3B-5E0B-D473-43D696B4375F}"/>
              </a:ext>
            </a:extLst>
          </p:cNvPr>
          <p:cNvSpPr txBox="1"/>
          <p:nvPr userDrawn="1"/>
        </p:nvSpPr>
        <p:spPr>
          <a:xfrm>
            <a:off x="4890402" y="8790098"/>
            <a:ext cx="49243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i="1" dirty="0">
                <a:solidFill>
                  <a:schemeClr val="accent2"/>
                </a:solidFill>
              </a:rPr>
              <a:t>BENEFICIARIO DE UNA BECA DE TC ENERGÍA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135197C4-9D5D-BA5C-83E8-C17872A6FC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7672" y="9602708"/>
            <a:ext cx="2100555" cy="407993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B7608577-C1A9-5651-5BFD-3100DF0024C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649188" y="-3"/>
            <a:ext cx="4407247" cy="6019559"/>
            <a:chOff x="10477007" y="683441"/>
            <a:chExt cx="4407247" cy="6019559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29673F1-B80C-344D-B4E8-9DA39963335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477007" y="683441"/>
              <a:ext cx="348877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B5389304-3109-8689-54C8-6570F4C8379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895961" y="1193800"/>
              <a:ext cx="3988293" cy="5509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tu diapositiva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emplaza el texto y las imágenes de ejemplo con tu propio contenido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Asegúrate de que todo se vea bien y quede dentro del diseño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Archivo → Guardar como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dónde quieres guardar tu archivo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el tipo de archivo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el menú desplegable "Guardar como tipo", selecciona: Formato de intercambio de archivos JPEG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clic en Guardar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te preguntará: "¿Todas las diapositivas?" o "¿Solo esta?"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esta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archivo JPG se guardará en la carpeta que elegiste, listo para compartir.</a:t>
              </a: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F094503-EB0C-9C68-26A6-559A49BB7C0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062D442-B552-4D0E-D0E3-5448130B819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9436" y="2706475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E980F53-B87A-BC8F-9A24-6B4A27495BD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5282" y="3407553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7D25391-2F21-C9ED-5959-8CF0FC8CBD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51236" y="4652198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822ED-6B9F-3CD8-97BB-0594AAE1241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6592" y="5887199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en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53134" y="953189"/>
            <a:ext cx="4951202" cy="49574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447" r="447"/>
          <a:stretch/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/>
          </p:cNvSpPr>
          <p:nvPr userDrawn="1"/>
        </p:nvSpPr>
        <p:spPr>
          <a:xfrm rot="5400000">
            <a:off x="-2557258" y="5084715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0" dist="38100" algn="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1972872" y="-2410817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00099" y="8147739"/>
            <a:ext cx="5304965" cy="614247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NOMBRE (EN MAYÚSCULA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ct val="900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ste es un texto de ejemplo. Por favor comparte aquí lo que piensas. Trata de escribir alrededor de 250 a 300 caracteres.</a:t>
            </a:r>
            <a:br>
              <a:rPr lang="en-US" dirty="0"/>
            </a:br>
            <a:r>
              <a:rPr lang="en-US" dirty="0"/>
              <a:t>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EE5BC827-CA3B-5E0B-D473-43D696B4375F}"/>
              </a:ext>
            </a:extLst>
          </p:cNvPr>
          <p:cNvSpPr txBox="1"/>
          <p:nvPr userDrawn="1"/>
        </p:nvSpPr>
        <p:spPr>
          <a:xfrm>
            <a:off x="4938492" y="8790098"/>
            <a:ext cx="48281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i="1" dirty="0">
                <a:solidFill>
                  <a:schemeClr val="accent2"/>
                </a:solidFill>
              </a:rPr>
              <a:t>BENEFICIARIA DE UNA BECA DE TC ENERGÍA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779A1D7-37F9-4FAC-9993-33B4B69CC221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649188" y="-3"/>
            <a:ext cx="4407247" cy="6019559"/>
            <a:chOff x="10477007" y="683441"/>
            <a:chExt cx="4407247" cy="6019559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7A1F8B4-B770-5E98-2C93-BED9F6D1FBC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477007" y="683441"/>
              <a:ext cx="348877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384D735-0037-35D6-4486-2CF3DCC6424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895961" y="1193800"/>
              <a:ext cx="3988293" cy="5509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tu diapositiva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emplaza el texto y las imágenes de ejemplo con tu propio contenido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Asegúrate de que todo se vea bien y quede dentro del diseño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Archivo → Guardar como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dónde quieres guardar tu archivo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el tipo de archivo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el menú desplegable "Guardar como tipo", selecciona: Formato de intercambio de archivos JPEG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clic en Guardar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te preguntará: "¿Todas las diapositivas?" o "¿Solo esta?"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esta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archivo JPG se guardará en la carpeta que elegiste, listo para compartir.</a:t>
              </a: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1AEF76B-F921-E05D-4949-B320CC2C886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21317F4-8BCD-BFA3-642D-A0952CA0E35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9436" y="2706475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8C3EC9A-5280-D237-C994-C64D42813FE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5282" y="3407553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3AAC8C-7844-CA8C-CB20-48BC695B84D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51236" y="4652198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BC21379-EE08-8FC8-8EC2-73317345D0B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6592" y="5887199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3" name="Graphic 52">
            <a:extLst>
              <a:ext uri="{FF2B5EF4-FFF2-40B4-BE49-F238E27FC236}">
                <a16:creationId xmlns:a16="http://schemas.microsoft.com/office/drawing/2014/main" id="{135197C4-9D5D-BA5C-83E8-C17872A6FC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7672" y="9602708"/>
            <a:ext cx="2100555" cy="40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320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231" y="1021556"/>
            <a:ext cx="8872538" cy="85537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231" y="2159253"/>
            <a:ext cx="8872538" cy="710619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31" y="9534526"/>
            <a:ext cx="2314575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29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231" y="339329"/>
            <a:ext cx="8872537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66" y="9547774"/>
            <a:ext cx="438071" cy="5476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500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</p:sldLayoutIdLst>
  <p:hf sldNum="0" hdr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274320" indent="-27432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E96271-0AD8-1EC8-DB65-0954318D60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2DE4CB-8B66-F643-6C85-1605F97BCB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C710E4-4051-4BA2-DA1F-5411196E32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8E6A5AC-9754-959D-97A1-16AF45569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40C922-25F7-246E-D5BB-9F48FAF7E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E3D611D-519E-F985-B882-513D05F510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395B7-8B36-A76C-EE1D-D22DA6357E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632E62-8D85-749E-29E6-F1654235E7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795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2c2624-9a52-45a9-a803-b3a7f79e404b">
      <Terms xmlns="http://schemas.microsoft.com/office/infopath/2007/PartnerControls"/>
    </lcf76f155ced4ddcb4097134ff3c332f>
    <TaxCatchAll xmlns="63a3d63c-3188-4f64-b2eb-5fdd8d99ed8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CF833F9DF84142A7EB23D28FCA4F60" ma:contentTypeVersion="13" ma:contentTypeDescription="Create a new document." ma:contentTypeScope="" ma:versionID="e48b3e7b8f34bf1f12ec6dc05b542a11">
  <xsd:schema xmlns:xsd="http://www.w3.org/2001/XMLSchema" xmlns:xs="http://www.w3.org/2001/XMLSchema" xmlns:p="http://schemas.microsoft.com/office/2006/metadata/properties" xmlns:ns2="b92c2624-9a52-45a9-a803-b3a7f79e404b" xmlns:ns3="63a3d63c-3188-4f64-b2eb-5fdd8d99ed82" targetNamespace="http://schemas.microsoft.com/office/2006/metadata/properties" ma:root="true" ma:fieldsID="949c134264d6ce6264d6a2c5b6b5499a" ns2:_="" ns3:_="">
    <xsd:import namespace="b92c2624-9a52-45a9-a803-b3a7f79e404b"/>
    <xsd:import namespace="63a3d63c-3188-4f64-b2eb-5fdd8d99ed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2c2624-9a52-45a9-a803-b3a7f79e40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f32e807-ea1f-4701-a6e0-24972aca76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3d63c-3188-4f64-b2eb-5fdd8d99ed8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f314c25-9048-4cf0-a14f-f4d9a84095c7}" ma:internalName="TaxCatchAll" ma:showField="CatchAllData" ma:web="63a3d63c-3188-4f64-b2eb-5fdd8d99ed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480EC4-38B2-45B1-AA3F-E77FEE42DD16}"/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703</TotalTime>
  <Words>264</Words>
  <Application>Microsoft Office PowerPoint</Application>
  <PresentationFormat>Custom</PresentationFormat>
  <Paragraphs>2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83</cp:revision>
  <dcterms:created xsi:type="dcterms:W3CDTF">2026-05-20T21:46:16Z</dcterms:created>
  <dcterms:modified xsi:type="dcterms:W3CDTF">2026-06-29T16:5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CF833F9DF84142A7EB23D28FCA4F60</vt:lpwstr>
  </property>
  <property fmtid="{D5CDD505-2E9C-101B-9397-08002B2CF9AE}" pid="3" name="MediaServiceImageTags">
    <vt:lpwstr/>
  </property>
</Properties>
</file>